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59"/>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9E394A6C-2D2E-48FF-9AF7-4CFDDB3077F8}">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notesMaster" Target="notesMasters/notesMaster1.xml"/><Relationship Id="rId60" Type="http://schemas.openxmlformats.org/officeDocument/2006/relationships/presProps" Target="presProps.xml"/><Relationship Id="rId61" Type="http://schemas.openxmlformats.org/officeDocument/2006/relationships/viewProps" Target="viewProps.xml"/><Relationship Id="rId62" Type="http://schemas.openxmlformats.org/officeDocument/2006/relationships/theme" Target="theme/theme1.xml"/><Relationship Id="rId63" Type="http://schemas.openxmlformats.org/officeDocument/2006/relationships/tableStyles" Target="tableStyles.xml"/><Relationship Id="rId64" Type="http://schemas.microsoft.com/office/2015/10/relationships/revisionInfo" Target="revisionInfo.xml"/><Relationship Id="rId65"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813510240933092</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3168861037807284</c:v>
                </c:pt>
                <c:pt idx="5">
                  <c:v>0.135125447928939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20976903868425343</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9805693336185896</c:v>
                </c:pt>
                <c:pt idx="5">
                  <c:v>0.155508637837823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004277120293707</c:v>
                </c:pt>
                <c:pt idx="5">
                  <c:v>0.2102226805649291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4459616943125868</c:v>
                </c:pt>
                <c:pt idx="5">
                  <c:v>0.1325649529590970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2360514585842808</c:v>
                </c:pt>
                <c:pt idx="5">
                  <c:v>0.776394854141571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4967867469613551</c:v>
                </c:pt>
                <c:pt idx="5">
                  <c:v>0.02938197195187502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4459616943125868</c:v>
                </c:pt>
                <c:pt idx="5">
                  <c:v>0.1325649529590970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4459616943125868</c:v>
                </c:pt>
                <c:pt idx="5">
                  <c:v>0.1325649529590970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4459616943125868</c:v>
                </c:pt>
                <c:pt idx="5">
                  <c:v>0.1325649529590970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2056343329605625</c:v>
                </c:pt>
                <c:pt idx="5">
                  <c:v>0.947943656670394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7423533038835943</c:v>
                </c:pt>
                <c:pt idx="5">
                  <c:v>0.982576466961164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7423533038835943</c:v>
                </c:pt>
                <c:pt idx="5">
                  <c:v>0.982576466961164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4238281095927957</c:v>
                </c:pt>
                <c:pt idx="4">
                  <c:v>0.9703468669643357</c:v>
                </c:pt>
                <c:pt idx="5">
                  <c:v>0.0054133670886693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17290666257316</c:v>
                </c:pt>
                <c:pt idx="5">
                  <c:v>0.000732153285098149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8509380425775548</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1651137799209074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3957826060293156</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9100175784980296</c:v>
                </c:pt>
                <c:pt idx="4">
                  <c:v>0.0025664433600769906</c:v>
                </c:pt>
                <c:pt idx="5">
                  <c:v>0.2018021025376353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0700733958231108</c:v>
                </c:pt>
                <c:pt idx="5">
                  <c:v>0.2787250450457129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513810531094766</c:v>
                </c:pt>
                <c:pt idx="4">
                  <c:v>0.15643553656363424</c:v>
                </c:pt>
                <c:pt idx="5">
                  <c:v>0.000608702002365305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4238281095927957</c:v>
                </c:pt>
                <c:pt idx="4">
                  <c:v>0.9703468669643357</c:v>
                </c:pt>
                <c:pt idx="5">
                  <c:v>0.0054133670886693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365413362707141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513810531094766</c:v>
                </c:pt>
                <c:pt idx="4">
                  <c:v>0.15643553656363424</c:v>
                </c:pt>
                <c:pt idx="5">
                  <c:v>0.000608702002365305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513810531094766</c:v>
                </c:pt>
                <c:pt idx="4">
                  <c:v>0.15643553656363424</c:v>
                </c:pt>
                <c:pt idx="5">
                  <c:v>0.000608702002365305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513810531094766</c:v>
                </c:pt>
                <c:pt idx="4">
                  <c:v>0.15643553656363424</c:v>
                </c:pt>
                <c:pt idx="5">
                  <c:v>0.000608702002365305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24377547534882</c:v>
                </c:pt>
                <c:pt idx="5">
                  <c:v>0.99175622452465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2056343329605625</c:v>
                </c:pt>
                <c:pt idx="5">
                  <c:v>0.947943656670394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24377547534882</c:v>
                </c:pt>
                <c:pt idx="5">
                  <c:v>0.99175622452465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2056343329605625</c:v>
                </c:pt>
                <c:pt idx="5">
                  <c:v>0.947943656670394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2056343329605625</c:v>
                </c:pt>
                <c:pt idx="5">
                  <c:v>0.947943656670394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1597009283891027</c:v>
                </c:pt>
                <c:pt idx="4">
                  <c:v>0.22252527356135005</c:v>
                </c:pt>
                <c:pt idx="5">
                  <c:v>0.774314631342371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078982552789282</c:v>
                </c:pt>
                <c:pt idx="5">
                  <c:v>0.01406753392550259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32235911735827946</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699174499212642</c:v>
                </c:pt>
                <c:pt idx="5">
                  <c:v>0.1335576399838758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11808594241642617</c:v>
                </c:pt>
                <c:pt idx="4">
                  <c:v>0.15119299446825168</c:v>
                </c:pt>
                <c:pt idx="5">
                  <c:v>0.0862516242422712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3830062809249894</c:v>
                </c:pt>
                <c:pt idx="5">
                  <c:v>0.215511027594378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978841504224841</c:v>
                </c:pt>
                <c:pt idx="4">
                  <c:v>0.13608427619938532</c:v>
                </c:pt>
                <c:pt idx="5">
                  <c:v>0.04422063820943271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1597009283891027</c:v>
                </c:pt>
                <c:pt idx="4">
                  <c:v>0.22252527356135005</c:v>
                </c:pt>
                <c:pt idx="5">
                  <c:v>0.774314631342371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7118344355055473</c:v>
                </c:pt>
                <c:pt idx="5">
                  <c:v>0.03007043781755239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978841504224841</c:v>
                </c:pt>
                <c:pt idx="4">
                  <c:v>0.13608427619938532</c:v>
                </c:pt>
                <c:pt idx="5">
                  <c:v>0.04422063820943271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1597009283891027</c:v>
                </c:pt>
                <c:pt idx="4">
                  <c:v>0.22252527356135005</c:v>
                </c:pt>
                <c:pt idx="5">
                  <c:v>0.774314631342371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978841504224841</c:v>
                </c:pt>
                <c:pt idx="4">
                  <c:v>0.13608427619938532</c:v>
                </c:pt>
                <c:pt idx="5">
                  <c:v>0.04422063820943271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978841504224841</c:v>
                </c:pt>
                <c:pt idx="4">
                  <c:v>0.13608427619938532</c:v>
                </c:pt>
                <c:pt idx="5">
                  <c:v>0.04422063820943271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2073048452954874</c:v>
                </c:pt>
                <c:pt idx="5">
                  <c:v>0.997926951547045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078982552789282</c:v>
                </c:pt>
                <c:pt idx="5">
                  <c:v>0.01406753392550259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2073048452954874</c:v>
                </c:pt>
                <c:pt idx="5">
                  <c:v>0.997926951547045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2459300402391740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699174499212642</c:v>
                </c:pt>
                <c:pt idx="5">
                  <c:v>0.1335576399838758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948784410285978</c:v>
                </c:pt>
                <c:pt idx="5">
                  <c:v>0.940512155897140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3158747647989788</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948784410285978</c:v>
                </c:pt>
                <c:pt idx="5">
                  <c:v>0.940512155897140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11808594241642617</c:v>
                </c:pt>
                <c:pt idx="4">
                  <c:v>0.15119299446825168</c:v>
                </c:pt>
                <c:pt idx="5">
                  <c:v>0.0862516242422712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2360514585842808</c:v>
                </c:pt>
                <c:pt idx="5">
                  <c:v>0.776394854141571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277254335495254</c:v>
                </c:pt>
                <c:pt idx="5">
                  <c:v>0.1135911628989078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4037195032736752</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3168861037807284</c:v>
                </c:pt>
                <c:pt idx="5">
                  <c:v>0.135125447928939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9805693336185896</c:v>
                </c:pt>
                <c:pt idx="5">
                  <c:v>0.155508637837823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004277120293707</c:v>
                </c:pt>
                <c:pt idx="5">
                  <c:v>0.2102226805649291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4459616943125868</c:v>
                </c:pt>
                <c:pt idx="5">
                  <c:v>0.1325649529590970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2360514585842808</c:v>
                </c:pt>
                <c:pt idx="5">
                  <c:v>0.776394854141571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4967867469613551</c:v>
                </c:pt>
                <c:pt idx="5">
                  <c:v>0.02938197195187502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3830062809249894</c:v>
                </c:pt>
                <c:pt idx="5">
                  <c:v>0.215511027594378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4459616943125868</c:v>
                </c:pt>
                <c:pt idx="5">
                  <c:v>0.1325649529590970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4459616943125868</c:v>
                </c:pt>
                <c:pt idx="5">
                  <c:v>0.1325649529590970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4459616943125868</c:v>
                </c:pt>
                <c:pt idx="5">
                  <c:v>0.1325649529590970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978841504224841</c:v>
                </c:pt>
                <c:pt idx="4">
                  <c:v>0.13608427619938532</c:v>
                </c:pt>
                <c:pt idx="5">
                  <c:v>0.04422063820943271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7423533038835943</c:v>
                </c:pt>
                <c:pt idx="5">
                  <c:v>0.982576466961164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7423533038835943</c:v>
                </c:pt>
                <c:pt idx="5">
                  <c:v>0.982576466961164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1597009283891027</c:v>
                </c:pt>
                <c:pt idx="4">
                  <c:v>0.22252527356135005</c:v>
                </c:pt>
                <c:pt idx="5">
                  <c:v>0.774314631342371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4238281095927957</c:v>
                </c:pt>
                <c:pt idx="4">
                  <c:v>0.9703468669643357</c:v>
                </c:pt>
                <c:pt idx="5">
                  <c:v>0.0054133670886693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17290666257316</c:v>
                </c:pt>
                <c:pt idx="5">
                  <c:v>0.000732153285098149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392199276151796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1651137799209074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7118344355055473</c:v>
                </c:pt>
                <c:pt idx="5">
                  <c:v>0.03007043781755239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9100175784980296</c:v>
                </c:pt>
                <c:pt idx="4">
                  <c:v>0.0025664433600769906</c:v>
                </c:pt>
                <c:pt idx="5">
                  <c:v>0.2018021025376353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0700733958231108</c:v>
                </c:pt>
                <c:pt idx="5">
                  <c:v>0.2787250450457129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513810531094766</c:v>
                </c:pt>
                <c:pt idx="4">
                  <c:v>0.15643553656363424</c:v>
                </c:pt>
                <c:pt idx="5">
                  <c:v>0.000608702002365305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4238281095927957</c:v>
                </c:pt>
                <c:pt idx="4">
                  <c:v>0.9703468669643357</c:v>
                </c:pt>
                <c:pt idx="5">
                  <c:v>0.0054133670886693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365413362707141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513810531094766</c:v>
                </c:pt>
                <c:pt idx="4">
                  <c:v>0.15643553656363424</c:v>
                </c:pt>
                <c:pt idx="5">
                  <c:v>0.000608702002365305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513810531094766</c:v>
                </c:pt>
                <c:pt idx="4">
                  <c:v>0.15643553656363424</c:v>
                </c:pt>
                <c:pt idx="5">
                  <c:v>0.000608702002365305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513810531094766</c:v>
                </c:pt>
                <c:pt idx="4">
                  <c:v>0.15643553656363424</c:v>
                </c:pt>
                <c:pt idx="5">
                  <c:v>0.000608702002365305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24377547534882</c:v>
                </c:pt>
                <c:pt idx="5">
                  <c:v>0.99175622452465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24377547534882</c:v>
                </c:pt>
                <c:pt idx="5">
                  <c:v>0.99175622452465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978841504224841</c:v>
                </c:pt>
                <c:pt idx="4">
                  <c:v>0.13608427619938532</c:v>
                </c:pt>
                <c:pt idx="5">
                  <c:v>0.04422063820943271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2056343329605625</c:v>
                </c:pt>
                <c:pt idx="5">
                  <c:v>0.947943656670394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2056343329605625</c:v>
                </c:pt>
                <c:pt idx="5">
                  <c:v>0.947943656670394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978841504224841</c:v>
                </c:pt>
                <c:pt idx="4">
                  <c:v>0.13608427619938532</c:v>
                </c:pt>
                <c:pt idx="5">
                  <c:v>0.04422063820943271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1597009283891027</c:v>
                </c:pt>
                <c:pt idx="4">
                  <c:v>0.22252527356135005</c:v>
                </c:pt>
                <c:pt idx="5">
                  <c:v>0.774314631342371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078982552789282</c:v>
                </c:pt>
                <c:pt idx="5">
                  <c:v>0.01406753392550259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699174499212642</c:v>
                </c:pt>
                <c:pt idx="5">
                  <c:v>0.1335576399838758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742718398456604</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11808594241642617</c:v>
                </c:pt>
                <c:pt idx="4">
                  <c:v>0.15119299446825168</c:v>
                </c:pt>
                <c:pt idx="5">
                  <c:v>0.0862516242422712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26047589397001896</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3830062809249894</c:v>
                </c:pt>
                <c:pt idx="5">
                  <c:v>0.215511027594378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978841504224841</c:v>
                </c:pt>
                <c:pt idx="4">
                  <c:v>0.13608427619938532</c:v>
                </c:pt>
                <c:pt idx="5">
                  <c:v>0.04422063820943271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978841504224841</c:v>
                </c:pt>
                <c:pt idx="4">
                  <c:v>0.13608427619938532</c:v>
                </c:pt>
                <c:pt idx="5">
                  <c:v>0.04422063820943271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1597009283891027</c:v>
                </c:pt>
                <c:pt idx="4">
                  <c:v>0.22252527356135005</c:v>
                </c:pt>
                <c:pt idx="5">
                  <c:v>0.774314631342371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7118344355055473</c:v>
                </c:pt>
                <c:pt idx="5">
                  <c:v>0.03007043781755239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978841504224841</c:v>
                </c:pt>
                <c:pt idx="4">
                  <c:v>0.13608427619938532</c:v>
                </c:pt>
                <c:pt idx="5">
                  <c:v>0.04422063820943271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978841504224841</c:v>
                </c:pt>
                <c:pt idx="4">
                  <c:v>0.13608427619938532</c:v>
                </c:pt>
                <c:pt idx="5">
                  <c:v>0.04422063820943271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978841504224841</c:v>
                </c:pt>
                <c:pt idx="4">
                  <c:v>0.13608427619938532</c:v>
                </c:pt>
                <c:pt idx="5">
                  <c:v>0.04422063820943271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2073048452954874</c:v>
                </c:pt>
                <c:pt idx="5">
                  <c:v>0.997926951547045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2073048452954874</c:v>
                </c:pt>
                <c:pt idx="5">
                  <c:v>0.997926951547045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2073048452954874</c:v>
                </c:pt>
                <c:pt idx="5">
                  <c:v>0.997926951547045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948784410285978</c:v>
                </c:pt>
                <c:pt idx="5">
                  <c:v>0.940512155897140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948784410285978</c:v>
                </c:pt>
                <c:pt idx="5">
                  <c:v>0.940512155897140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2360514585842808</c:v>
                </c:pt>
                <c:pt idx="5">
                  <c:v>0.776394854141571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277254335495254</c:v>
                </c:pt>
                <c:pt idx="5">
                  <c:v>0.1135911628989078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3168861037807284</c:v>
                </c:pt>
                <c:pt idx="5">
                  <c:v>0.135125447928939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6177068301499467</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9805693336185896</c:v>
                </c:pt>
                <c:pt idx="5">
                  <c:v>0.155508637837823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4076498851806732</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004277120293707</c:v>
                </c:pt>
                <c:pt idx="5">
                  <c:v>0.2102226805649291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4459616943125868</c:v>
                </c:pt>
                <c:pt idx="5">
                  <c:v>0.1325649529590970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2360514585842808</c:v>
                </c:pt>
                <c:pt idx="5">
                  <c:v>0.776394854141571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4967867469613551</c:v>
                </c:pt>
                <c:pt idx="5">
                  <c:v>0.02938197195187502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4459616943125868</c:v>
                </c:pt>
                <c:pt idx="5">
                  <c:v>0.1325649529590970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4459616943125868</c:v>
                </c:pt>
                <c:pt idx="5">
                  <c:v>0.1325649529590970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4459616943125868</c:v>
                </c:pt>
                <c:pt idx="5">
                  <c:v>0.1325649529590970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7423533038835943</c:v>
                </c:pt>
                <c:pt idx="5">
                  <c:v>0.982576466961164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7423533038835943</c:v>
                </c:pt>
                <c:pt idx="5">
                  <c:v>0.982576466961164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4238281095927957</c:v>
                </c:pt>
                <c:pt idx="4">
                  <c:v>0.9703468669643357</c:v>
                </c:pt>
                <c:pt idx="5">
                  <c:v>0.0054133670886693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17290666257316</c:v>
                </c:pt>
                <c:pt idx="5">
                  <c:v>0.000732153285098149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1651137799209074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435490275923353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9100175784980296</c:v>
                </c:pt>
                <c:pt idx="4">
                  <c:v>0.0025664433600769906</c:v>
                </c:pt>
                <c:pt idx="5">
                  <c:v>0.2018021025376353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3039789190651794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0700733958231108</c:v>
                </c:pt>
                <c:pt idx="5">
                  <c:v>0.2787250450457129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513810531094766</c:v>
                </c:pt>
                <c:pt idx="4">
                  <c:v>0.15643553656363424</c:v>
                </c:pt>
                <c:pt idx="5">
                  <c:v>0.000608702002365305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4238281095927957</c:v>
                </c:pt>
                <c:pt idx="4">
                  <c:v>0.9703468669643357</c:v>
                </c:pt>
                <c:pt idx="5">
                  <c:v>0.0054133670886693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365413362707141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513810531094766</c:v>
                </c:pt>
                <c:pt idx="4">
                  <c:v>0.15643553656363424</c:v>
                </c:pt>
                <c:pt idx="5">
                  <c:v>0.000608702002365305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2073048452954874</c:v>
                </c:pt>
                <c:pt idx="5">
                  <c:v>0.997926951547045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513810531094766</c:v>
                </c:pt>
                <c:pt idx="4">
                  <c:v>0.15643553656363424</c:v>
                </c:pt>
                <c:pt idx="5">
                  <c:v>0.000608702002365305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513810531094766</c:v>
                </c:pt>
                <c:pt idx="4">
                  <c:v>0.15643553656363424</c:v>
                </c:pt>
                <c:pt idx="5">
                  <c:v>0.000608702002365305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24377547534882</c:v>
                </c:pt>
                <c:pt idx="5">
                  <c:v>0.99175622452465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24377547534882</c:v>
                </c:pt>
                <c:pt idx="5">
                  <c:v>0.99175622452465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948784410285978</c:v>
                </c:pt>
                <c:pt idx="5">
                  <c:v>0.940512155897140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948784410285978</c:v>
                </c:pt>
                <c:pt idx="5">
                  <c:v>0.940512155897140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2360514585842808</c:v>
                </c:pt>
                <c:pt idx="5">
                  <c:v>0.776394854141571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277254335495254</c:v>
                </c:pt>
                <c:pt idx="5">
                  <c:v>0.1135911628989078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 Id="rId14" Type="http://schemas.openxmlformats.org/officeDocument/2006/relationships/chart" Target="../charts/chart393.xml"/><Relationship Id="rId15" Type="http://schemas.openxmlformats.org/officeDocument/2006/relationships/chart" Target="../charts/chart394.xml"/><Relationship Id="rId16" Type="http://schemas.openxmlformats.org/officeDocument/2006/relationships/chart" Target="../charts/chart395.xml"/><Relationship Id="rId17" Type="http://schemas.openxmlformats.org/officeDocument/2006/relationships/chart" Target="../charts/chart39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 Id="rId17" Type="http://schemas.openxmlformats.org/officeDocument/2006/relationships/chart" Target="../charts/chart40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3.xml"/><Relationship Id="rId7" Type="http://schemas.openxmlformats.org/officeDocument/2006/relationships/chart" Target="../charts/chart434.xml"/><Relationship Id="rId8" Type="http://schemas.openxmlformats.org/officeDocument/2006/relationships/chart" Target="../charts/chart435.xml"/><Relationship Id="rId9" Type="http://schemas.openxmlformats.org/officeDocument/2006/relationships/chart" Target="../charts/chart436.xml"/><Relationship Id="rId10" Type="http://schemas.openxmlformats.org/officeDocument/2006/relationships/chart" Target="../charts/chart437.xml"/><Relationship Id="rId11" Type="http://schemas.openxmlformats.org/officeDocument/2006/relationships/chart" Target="../charts/chart438.xml"/><Relationship Id="rId12" Type="http://schemas.openxmlformats.org/officeDocument/2006/relationships/chart" Target="../charts/chart439.xml"/><Relationship Id="rId13" Type="http://schemas.openxmlformats.org/officeDocument/2006/relationships/chart" Target="../charts/chart440.xml"/><Relationship Id="rId14" Type="http://schemas.openxmlformats.org/officeDocument/2006/relationships/chart" Target="../charts/chart441.xml"/><Relationship Id="rId15" Type="http://schemas.openxmlformats.org/officeDocument/2006/relationships/chart" Target="../charts/chart442.xml"/><Relationship Id="rId16" Type="http://schemas.openxmlformats.org/officeDocument/2006/relationships/chart" Target="../charts/chart443.xml"/><Relationship Id="rId17" Type="http://schemas.openxmlformats.org/officeDocument/2006/relationships/chart" Target="../charts/chart44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5.xml"/><Relationship Id="rId7" Type="http://schemas.openxmlformats.org/officeDocument/2006/relationships/chart" Target="../charts/chart446.xml"/><Relationship Id="rId8" Type="http://schemas.openxmlformats.org/officeDocument/2006/relationships/chart" Target="../charts/chart447.xml"/><Relationship Id="rId9" Type="http://schemas.openxmlformats.org/officeDocument/2006/relationships/chart" Target="../charts/chart448.xml"/><Relationship Id="rId10" Type="http://schemas.openxmlformats.org/officeDocument/2006/relationships/chart" Target="../charts/chart449.xml"/><Relationship Id="rId11" Type="http://schemas.openxmlformats.org/officeDocument/2006/relationships/chart" Target="../charts/chart450.xml"/><Relationship Id="rId12" Type="http://schemas.openxmlformats.org/officeDocument/2006/relationships/chart" Target="../charts/chart451.xml"/><Relationship Id="rId13" Type="http://schemas.openxmlformats.org/officeDocument/2006/relationships/chart" Target="../charts/chart452.xml"/><Relationship Id="rId14" Type="http://schemas.openxmlformats.org/officeDocument/2006/relationships/chart" Target="../charts/chart453.xml"/><Relationship Id="rId15" Type="http://schemas.openxmlformats.org/officeDocument/2006/relationships/chart" Target="../charts/chart454.xml"/><Relationship Id="rId16" Type="http://schemas.openxmlformats.org/officeDocument/2006/relationships/chart" Target="../charts/chart455.xml"/><Relationship Id="rId17" Type="http://schemas.openxmlformats.org/officeDocument/2006/relationships/chart" Target="../charts/chart45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7.xml"/><Relationship Id="rId7" Type="http://schemas.openxmlformats.org/officeDocument/2006/relationships/chart" Target="../charts/chart458.xml"/><Relationship Id="rId8" Type="http://schemas.openxmlformats.org/officeDocument/2006/relationships/chart" Target="../charts/chart459.xml"/><Relationship Id="rId9" Type="http://schemas.openxmlformats.org/officeDocument/2006/relationships/chart" Target="../charts/chart460.xml"/><Relationship Id="rId10" Type="http://schemas.openxmlformats.org/officeDocument/2006/relationships/chart" Target="../charts/chart461.xml"/><Relationship Id="rId11" Type="http://schemas.openxmlformats.org/officeDocument/2006/relationships/chart" Target="../charts/chart462.xml"/><Relationship Id="rId12" Type="http://schemas.openxmlformats.org/officeDocument/2006/relationships/chart" Target="../charts/chart463.xml"/><Relationship Id="rId13" Type="http://schemas.openxmlformats.org/officeDocument/2006/relationships/chart" Target="../charts/chart464.xml"/><Relationship Id="rId14" Type="http://schemas.openxmlformats.org/officeDocument/2006/relationships/chart" Target="../charts/chart465.xml"/><Relationship Id="rId15" Type="http://schemas.openxmlformats.org/officeDocument/2006/relationships/chart" Target="../charts/chart466.xml"/><Relationship Id="rId16" Type="http://schemas.openxmlformats.org/officeDocument/2006/relationships/chart" Target="../charts/chart467.xml"/><Relationship Id="rId17" Type="http://schemas.openxmlformats.org/officeDocument/2006/relationships/chart" Target="../charts/chart46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9.xml"/><Relationship Id="rId7" Type="http://schemas.openxmlformats.org/officeDocument/2006/relationships/chart" Target="../charts/chart470.xml"/><Relationship Id="rId8" Type="http://schemas.openxmlformats.org/officeDocument/2006/relationships/chart" Target="../charts/chart471.xml"/><Relationship Id="rId9" Type="http://schemas.openxmlformats.org/officeDocument/2006/relationships/chart" Target="../charts/chart472.xml"/><Relationship Id="rId10" Type="http://schemas.openxmlformats.org/officeDocument/2006/relationships/chart" Target="../charts/chart473.xml"/><Relationship Id="rId11" Type="http://schemas.openxmlformats.org/officeDocument/2006/relationships/chart" Target="../charts/chart474.xml"/><Relationship Id="rId12" Type="http://schemas.openxmlformats.org/officeDocument/2006/relationships/chart" Target="../charts/chart475.xml"/><Relationship Id="rId13" Type="http://schemas.openxmlformats.org/officeDocument/2006/relationships/chart" Target="../charts/chart476.xml"/><Relationship Id="rId14" Type="http://schemas.openxmlformats.org/officeDocument/2006/relationships/chart" Target="../charts/chart477.xml"/><Relationship Id="rId15" Type="http://schemas.openxmlformats.org/officeDocument/2006/relationships/chart" Target="../charts/chart478.xml"/><Relationship Id="rId16" Type="http://schemas.openxmlformats.org/officeDocument/2006/relationships/chart" Target="../charts/chart479.xml"/><Relationship Id="rId17" Type="http://schemas.openxmlformats.org/officeDocument/2006/relationships/chart" Target="../charts/chart48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1.xml"/><Relationship Id="rId7" Type="http://schemas.openxmlformats.org/officeDocument/2006/relationships/chart" Target="../charts/chart482.xml"/><Relationship Id="rId8" Type="http://schemas.openxmlformats.org/officeDocument/2006/relationships/chart" Target="../charts/chart483.xml"/><Relationship Id="rId9" Type="http://schemas.openxmlformats.org/officeDocument/2006/relationships/chart" Target="../charts/chart484.xml"/><Relationship Id="rId10" Type="http://schemas.openxmlformats.org/officeDocument/2006/relationships/chart" Target="../charts/chart485.xml"/><Relationship Id="rId11" Type="http://schemas.openxmlformats.org/officeDocument/2006/relationships/chart" Target="../charts/chart486.xml"/><Relationship Id="rId12" Type="http://schemas.openxmlformats.org/officeDocument/2006/relationships/chart" Target="../charts/chart487.xml"/><Relationship Id="rId13" Type="http://schemas.openxmlformats.org/officeDocument/2006/relationships/chart" Target="../charts/chart488.xml"/><Relationship Id="rId14" Type="http://schemas.openxmlformats.org/officeDocument/2006/relationships/chart" Target="../charts/chart489.xml"/><Relationship Id="rId15" Type="http://schemas.openxmlformats.org/officeDocument/2006/relationships/chart" Target="../charts/chart490.xml"/><Relationship Id="rId16" Type="http://schemas.openxmlformats.org/officeDocument/2006/relationships/chart" Target="../charts/chart491.xml"/><Relationship Id="rId17" Type="http://schemas.openxmlformats.org/officeDocument/2006/relationships/chart" Target="../charts/chart49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3.xml"/><Relationship Id="rId7" Type="http://schemas.openxmlformats.org/officeDocument/2006/relationships/chart" Target="../charts/chart494.xml"/><Relationship Id="rId8" Type="http://schemas.openxmlformats.org/officeDocument/2006/relationships/chart" Target="../charts/chart495.xml"/><Relationship Id="rId9" Type="http://schemas.openxmlformats.org/officeDocument/2006/relationships/chart" Target="../charts/chart496.xml"/><Relationship Id="rId10" Type="http://schemas.openxmlformats.org/officeDocument/2006/relationships/chart" Target="../charts/chart497.xml"/><Relationship Id="rId11" Type="http://schemas.openxmlformats.org/officeDocument/2006/relationships/chart" Target="../charts/chart498.xml"/><Relationship Id="rId12" Type="http://schemas.openxmlformats.org/officeDocument/2006/relationships/chart" Target="../charts/chart499.xml"/><Relationship Id="rId13" Type="http://schemas.openxmlformats.org/officeDocument/2006/relationships/chart" Target="../charts/chart500.xml"/><Relationship Id="rId14" Type="http://schemas.openxmlformats.org/officeDocument/2006/relationships/chart" Target="../charts/chart501.xml"/><Relationship Id="rId15" Type="http://schemas.openxmlformats.org/officeDocument/2006/relationships/chart" Target="../charts/chart502.xml"/><Relationship Id="rId16" Type="http://schemas.openxmlformats.org/officeDocument/2006/relationships/chart" Target="../charts/chart503.xml"/><Relationship Id="rId17" Type="http://schemas.openxmlformats.org/officeDocument/2006/relationships/chart" Target="../charts/chart504.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5.xml"/><Relationship Id="rId7" Type="http://schemas.openxmlformats.org/officeDocument/2006/relationships/chart" Target="../charts/chart506.xml"/><Relationship Id="rId8" Type="http://schemas.openxmlformats.org/officeDocument/2006/relationships/chart" Target="../charts/chart507.xml"/><Relationship Id="rId9" Type="http://schemas.openxmlformats.org/officeDocument/2006/relationships/chart" Target="../charts/chart508.xml"/><Relationship Id="rId10" Type="http://schemas.openxmlformats.org/officeDocument/2006/relationships/chart" Target="../charts/chart509.xml"/><Relationship Id="rId11" Type="http://schemas.openxmlformats.org/officeDocument/2006/relationships/chart" Target="../charts/chart510.xml"/><Relationship Id="rId12" Type="http://schemas.openxmlformats.org/officeDocument/2006/relationships/chart" Target="../charts/chart511.xml"/><Relationship Id="rId13" Type="http://schemas.openxmlformats.org/officeDocument/2006/relationships/chart" Target="../charts/chart512.xml"/><Relationship Id="rId14" Type="http://schemas.openxmlformats.org/officeDocument/2006/relationships/chart" Target="../charts/chart513.xml"/><Relationship Id="rId15" Type="http://schemas.openxmlformats.org/officeDocument/2006/relationships/chart" Target="../charts/chart514.xml"/><Relationship Id="rId16" Type="http://schemas.openxmlformats.org/officeDocument/2006/relationships/chart" Target="../charts/chart515.xml"/><Relationship Id="rId17" Type="http://schemas.openxmlformats.org/officeDocument/2006/relationships/chart" Target="../charts/chart516.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7.xml"/><Relationship Id="rId7" Type="http://schemas.openxmlformats.org/officeDocument/2006/relationships/chart" Target="../charts/chart518.xml"/><Relationship Id="rId8" Type="http://schemas.openxmlformats.org/officeDocument/2006/relationships/chart" Target="../charts/chart519.xml"/><Relationship Id="rId9" Type="http://schemas.openxmlformats.org/officeDocument/2006/relationships/chart" Target="../charts/chart520.xml"/><Relationship Id="rId10" Type="http://schemas.openxmlformats.org/officeDocument/2006/relationships/chart" Target="../charts/chart521.xml"/><Relationship Id="rId11" Type="http://schemas.openxmlformats.org/officeDocument/2006/relationships/chart" Target="../charts/chart522.xml"/><Relationship Id="rId12" Type="http://schemas.openxmlformats.org/officeDocument/2006/relationships/chart" Target="../charts/chart523.xml"/><Relationship Id="rId13" Type="http://schemas.openxmlformats.org/officeDocument/2006/relationships/chart" Target="../charts/chart524.xml"/><Relationship Id="rId14" Type="http://schemas.openxmlformats.org/officeDocument/2006/relationships/chart" Target="../charts/chart525.xml"/><Relationship Id="rId15" Type="http://schemas.openxmlformats.org/officeDocument/2006/relationships/chart" Target="../charts/chart526.xml"/><Relationship Id="rId16" Type="http://schemas.openxmlformats.org/officeDocument/2006/relationships/chart" Target="../charts/chart527.xml"/><Relationship Id="rId17" Type="http://schemas.openxmlformats.org/officeDocument/2006/relationships/chart" Target="../charts/chart528.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 Id="rId14" Type="http://schemas.openxmlformats.org/officeDocument/2006/relationships/chart" Target="../charts/chart537.xml"/><Relationship Id="rId15" Type="http://schemas.openxmlformats.org/officeDocument/2006/relationships/chart" Target="../charts/chart538.xml"/><Relationship Id="rId16" Type="http://schemas.openxmlformats.org/officeDocument/2006/relationships/chart" Target="../charts/chart539.xml"/><Relationship Id="rId17" Type="http://schemas.openxmlformats.org/officeDocument/2006/relationships/chart" Target="../charts/chart540.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1.xml"/><Relationship Id="rId7" Type="http://schemas.openxmlformats.org/officeDocument/2006/relationships/chart" Target="../charts/chart542.xml"/><Relationship Id="rId8" Type="http://schemas.openxmlformats.org/officeDocument/2006/relationships/chart" Target="../charts/chart543.xml"/><Relationship Id="rId9" Type="http://schemas.openxmlformats.org/officeDocument/2006/relationships/chart" Target="../charts/chart544.xml"/><Relationship Id="rId10" Type="http://schemas.openxmlformats.org/officeDocument/2006/relationships/chart" Target="../charts/chart545.xml"/><Relationship Id="rId11" Type="http://schemas.openxmlformats.org/officeDocument/2006/relationships/chart" Target="../charts/chart546.xml"/><Relationship Id="rId12" Type="http://schemas.openxmlformats.org/officeDocument/2006/relationships/chart" Target="../charts/chart547.xml"/><Relationship Id="rId13" Type="http://schemas.openxmlformats.org/officeDocument/2006/relationships/chart" Target="../charts/chart548.xml"/><Relationship Id="rId14" Type="http://schemas.openxmlformats.org/officeDocument/2006/relationships/chart" Target="../charts/chart549.xml"/><Relationship Id="rId15" Type="http://schemas.openxmlformats.org/officeDocument/2006/relationships/chart" Target="../charts/chart550.xml"/><Relationship Id="rId16" Type="http://schemas.openxmlformats.org/officeDocument/2006/relationships/chart" Target="../charts/chart551.xml"/><Relationship Id="rId17" Type="http://schemas.openxmlformats.org/officeDocument/2006/relationships/chart" Target="../charts/chart552.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3.xml"/><Relationship Id="rId7" Type="http://schemas.openxmlformats.org/officeDocument/2006/relationships/chart" Target="../charts/chart554.xml"/><Relationship Id="rId8" Type="http://schemas.openxmlformats.org/officeDocument/2006/relationships/chart" Target="../charts/chart555.xml"/><Relationship Id="rId9" Type="http://schemas.openxmlformats.org/officeDocument/2006/relationships/chart" Target="../charts/chart556.xml"/><Relationship Id="rId10" Type="http://schemas.openxmlformats.org/officeDocument/2006/relationships/chart" Target="../charts/chart557.xml"/><Relationship Id="rId11" Type="http://schemas.openxmlformats.org/officeDocument/2006/relationships/chart" Target="../charts/chart558.xml"/><Relationship Id="rId12" Type="http://schemas.openxmlformats.org/officeDocument/2006/relationships/chart" Target="../charts/chart559.xml"/><Relationship Id="rId13" Type="http://schemas.openxmlformats.org/officeDocument/2006/relationships/chart" Target="../charts/chart560.xml"/><Relationship Id="rId14" Type="http://schemas.openxmlformats.org/officeDocument/2006/relationships/chart" Target="../charts/chart561.xml"/><Relationship Id="rId15" Type="http://schemas.openxmlformats.org/officeDocument/2006/relationships/chart" Target="../charts/chart562.xml"/><Relationship Id="rId16" Type="http://schemas.openxmlformats.org/officeDocument/2006/relationships/chart" Target="../charts/chart563.xml"/><Relationship Id="rId17" Type="http://schemas.openxmlformats.org/officeDocument/2006/relationships/chart" Target="../charts/chart564.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5.xml"/><Relationship Id="rId7" Type="http://schemas.openxmlformats.org/officeDocument/2006/relationships/chart" Target="../charts/chart566.xml"/><Relationship Id="rId8" Type="http://schemas.openxmlformats.org/officeDocument/2006/relationships/chart" Target="../charts/chart567.xml"/><Relationship Id="rId9" Type="http://schemas.openxmlformats.org/officeDocument/2006/relationships/chart" Target="../charts/chart568.xml"/><Relationship Id="rId10" Type="http://schemas.openxmlformats.org/officeDocument/2006/relationships/chart" Target="../charts/chart569.xml"/><Relationship Id="rId11" Type="http://schemas.openxmlformats.org/officeDocument/2006/relationships/chart" Target="../charts/chart570.xml"/><Relationship Id="rId12" Type="http://schemas.openxmlformats.org/officeDocument/2006/relationships/chart" Target="../charts/chart571.xml"/><Relationship Id="rId13" Type="http://schemas.openxmlformats.org/officeDocument/2006/relationships/chart" Target="../charts/chart572.xml"/><Relationship Id="rId14" Type="http://schemas.openxmlformats.org/officeDocument/2006/relationships/chart" Target="../charts/chart573.xml"/><Relationship Id="rId15" Type="http://schemas.openxmlformats.org/officeDocument/2006/relationships/chart" Target="../charts/chart574.xml"/><Relationship Id="rId16" Type="http://schemas.openxmlformats.org/officeDocument/2006/relationships/chart" Target="../charts/chart575.xml"/><Relationship Id="rId17" Type="http://schemas.openxmlformats.org/officeDocument/2006/relationships/chart" Target="../charts/chart576.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7.xml"/><Relationship Id="rId7" Type="http://schemas.openxmlformats.org/officeDocument/2006/relationships/chart" Target="../charts/chart578.xml"/><Relationship Id="rId8" Type="http://schemas.openxmlformats.org/officeDocument/2006/relationships/chart" Target="../charts/chart579.xml"/><Relationship Id="rId9" Type="http://schemas.openxmlformats.org/officeDocument/2006/relationships/chart" Target="../charts/chart580.xml"/><Relationship Id="rId10" Type="http://schemas.openxmlformats.org/officeDocument/2006/relationships/chart" Target="../charts/chart581.xml"/><Relationship Id="rId11" Type="http://schemas.openxmlformats.org/officeDocument/2006/relationships/chart" Target="../charts/chart582.xml"/><Relationship Id="rId12" Type="http://schemas.openxmlformats.org/officeDocument/2006/relationships/chart" Target="../charts/chart583.xml"/><Relationship Id="rId13" Type="http://schemas.openxmlformats.org/officeDocument/2006/relationships/chart" Target="../charts/chart584.xml"/><Relationship Id="rId14" Type="http://schemas.openxmlformats.org/officeDocument/2006/relationships/chart" Target="../charts/chart585.xml"/><Relationship Id="rId15" Type="http://schemas.openxmlformats.org/officeDocument/2006/relationships/chart" Target="../charts/chart586.xml"/><Relationship Id="rId16" Type="http://schemas.openxmlformats.org/officeDocument/2006/relationships/chart" Target="../charts/chart587.xml"/><Relationship Id="rId17" Type="http://schemas.openxmlformats.org/officeDocument/2006/relationships/chart" Target="../charts/chart58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9.xml"/><Relationship Id="rId7" Type="http://schemas.openxmlformats.org/officeDocument/2006/relationships/chart" Target="../charts/chart590.xml"/><Relationship Id="rId8" Type="http://schemas.openxmlformats.org/officeDocument/2006/relationships/chart" Target="../charts/chart591.xml"/><Relationship Id="rId9" Type="http://schemas.openxmlformats.org/officeDocument/2006/relationships/chart" Target="../charts/chart592.xml"/><Relationship Id="rId10" Type="http://schemas.openxmlformats.org/officeDocument/2006/relationships/chart" Target="../charts/chart593.xml"/><Relationship Id="rId11" Type="http://schemas.openxmlformats.org/officeDocument/2006/relationships/chart" Target="../charts/chart594.xml"/><Relationship Id="rId12" Type="http://schemas.openxmlformats.org/officeDocument/2006/relationships/chart" Target="../charts/chart595.xml"/><Relationship Id="rId13" Type="http://schemas.openxmlformats.org/officeDocument/2006/relationships/chart" Target="../charts/chart596.xml"/><Relationship Id="rId14" Type="http://schemas.openxmlformats.org/officeDocument/2006/relationships/chart" Target="../charts/chart597.xml"/><Relationship Id="rId15" Type="http://schemas.openxmlformats.org/officeDocument/2006/relationships/chart" Target="../charts/chart598.xml"/><Relationship Id="rId16" Type="http://schemas.openxmlformats.org/officeDocument/2006/relationships/chart" Target="../charts/chart599.xml"/><Relationship Id="rId17" Type="http://schemas.openxmlformats.org/officeDocument/2006/relationships/chart" Target="../charts/chart60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1.xml"/><Relationship Id="rId7" Type="http://schemas.openxmlformats.org/officeDocument/2006/relationships/chart" Target="../charts/chart602.xml"/><Relationship Id="rId8" Type="http://schemas.openxmlformats.org/officeDocument/2006/relationships/chart" Target="../charts/chart603.xml"/><Relationship Id="rId9" Type="http://schemas.openxmlformats.org/officeDocument/2006/relationships/chart" Target="../charts/chart604.xml"/><Relationship Id="rId10" Type="http://schemas.openxmlformats.org/officeDocument/2006/relationships/chart" Target="../charts/chart605.xml"/><Relationship Id="rId11" Type="http://schemas.openxmlformats.org/officeDocument/2006/relationships/chart" Target="../charts/chart606.xml"/><Relationship Id="rId12" Type="http://schemas.openxmlformats.org/officeDocument/2006/relationships/chart" Target="../charts/chart607.xml"/><Relationship Id="rId13" Type="http://schemas.openxmlformats.org/officeDocument/2006/relationships/chart" Target="../charts/chart608.xml"/><Relationship Id="rId14" Type="http://schemas.openxmlformats.org/officeDocument/2006/relationships/chart" Target="../charts/chart609.xml"/><Relationship Id="rId15" Type="http://schemas.openxmlformats.org/officeDocument/2006/relationships/chart" Target="../charts/chart610.xml"/><Relationship Id="rId16" Type="http://schemas.openxmlformats.org/officeDocument/2006/relationships/chart" Target="../charts/chart611.xml"/><Relationship Id="rId17" Type="http://schemas.openxmlformats.org/officeDocument/2006/relationships/chart" Target="../charts/chart612.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3.xml"/><Relationship Id="rId7" Type="http://schemas.openxmlformats.org/officeDocument/2006/relationships/chart" Target="../charts/chart614.xml"/><Relationship Id="rId8" Type="http://schemas.openxmlformats.org/officeDocument/2006/relationships/chart" Target="../charts/chart615.xml"/><Relationship Id="rId9" Type="http://schemas.openxmlformats.org/officeDocument/2006/relationships/chart" Target="../charts/chart616.xml"/><Relationship Id="rId10" Type="http://schemas.openxmlformats.org/officeDocument/2006/relationships/chart" Target="../charts/chart617.xml"/><Relationship Id="rId11" Type="http://schemas.openxmlformats.org/officeDocument/2006/relationships/chart" Target="../charts/chart618.xml"/><Relationship Id="rId12" Type="http://schemas.openxmlformats.org/officeDocument/2006/relationships/chart" Target="../charts/chart619.xml"/><Relationship Id="rId13" Type="http://schemas.openxmlformats.org/officeDocument/2006/relationships/chart" Target="../charts/chart620.xml"/><Relationship Id="rId14" Type="http://schemas.openxmlformats.org/officeDocument/2006/relationships/chart" Target="../charts/chart621.xml"/><Relationship Id="rId15" Type="http://schemas.openxmlformats.org/officeDocument/2006/relationships/chart" Target="../charts/chart622.xml"/><Relationship Id="rId16" Type="http://schemas.openxmlformats.org/officeDocument/2006/relationships/chart" Target="../charts/chart623.xml"/><Relationship Id="rId17" Type="http://schemas.openxmlformats.org/officeDocument/2006/relationships/chart" Target="../charts/chart624.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5.xml"/><Relationship Id="rId7" Type="http://schemas.openxmlformats.org/officeDocument/2006/relationships/chart" Target="../charts/chart626.xml"/><Relationship Id="rId8" Type="http://schemas.openxmlformats.org/officeDocument/2006/relationships/chart" Target="../charts/chart627.xml"/><Relationship Id="rId9" Type="http://schemas.openxmlformats.org/officeDocument/2006/relationships/chart" Target="../charts/chart628.xml"/><Relationship Id="rId10" Type="http://schemas.openxmlformats.org/officeDocument/2006/relationships/chart" Target="../charts/chart629.xml"/><Relationship Id="rId11" Type="http://schemas.openxmlformats.org/officeDocument/2006/relationships/chart" Target="../charts/chart630.xml"/><Relationship Id="rId12" Type="http://schemas.openxmlformats.org/officeDocument/2006/relationships/chart" Target="../charts/chart631.xml"/><Relationship Id="rId13" Type="http://schemas.openxmlformats.org/officeDocument/2006/relationships/chart" Target="../charts/chart632.xml"/><Relationship Id="rId14" Type="http://schemas.openxmlformats.org/officeDocument/2006/relationships/chart" Target="../charts/chart633.xml"/><Relationship Id="rId15" Type="http://schemas.openxmlformats.org/officeDocument/2006/relationships/chart" Target="../charts/chart634.xml"/><Relationship Id="rId16" Type="http://schemas.openxmlformats.org/officeDocument/2006/relationships/chart" Target="../charts/chart635.xml"/><Relationship Id="rId17" Type="http://schemas.openxmlformats.org/officeDocument/2006/relationships/chart" Target="../charts/chart636.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7.xml"/><Relationship Id="rId7" Type="http://schemas.openxmlformats.org/officeDocument/2006/relationships/chart" Target="../charts/chart638.xml"/><Relationship Id="rId8" Type="http://schemas.openxmlformats.org/officeDocument/2006/relationships/chart" Target="../charts/chart639.xml"/><Relationship Id="rId9" Type="http://schemas.openxmlformats.org/officeDocument/2006/relationships/chart" Target="../charts/chart640.xml"/><Relationship Id="rId10" Type="http://schemas.openxmlformats.org/officeDocument/2006/relationships/chart" Target="../charts/chart641.xml"/><Relationship Id="rId11" Type="http://schemas.openxmlformats.org/officeDocument/2006/relationships/chart" Target="../charts/chart642.xml"/><Relationship Id="rId12" Type="http://schemas.openxmlformats.org/officeDocument/2006/relationships/chart" Target="../charts/chart643.xml"/><Relationship Id="rId13" Type="http://schemas.openxmlformats.org/officeDocument/2006/relationships/chart" Target="../charts/chart644.xml"/><Relationship Id="rId14" Type="http://schemas.openxmlformats.org/officeDocument/2006/relationships/chart" Target="../charts/chart645.xml"/><Relationship Id="rId15" Type="http://schemas.openxmlformats.org/officeDocument/2006/relationships/chart" Target="../charts/chart646.xml"/><Relationship Id="rId16" Type="http://schemas.openxmlformats.org/officeDocument/2006/relationships/chart" Target="../charts/chart647.xml"/><Relationship Id="rId17" Type="http://schemas.openxmlformats.org/officeDocument/2006/relationships/chart" Target="../charts/chart648.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176277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957431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514175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061659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761741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229540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459163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525619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316384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5992201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311371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2865086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9037710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999434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353053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94397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2212697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333542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256230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741788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1243887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524823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7503195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957800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983724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765238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681156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590352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798664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6271355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781384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6826349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72121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641386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093659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652509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828133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548806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6278476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671919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2436022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698677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649336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576311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134751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3379627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1228177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200623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404888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9370272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4948101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254823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793655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442345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7506</Words>
  <Application>Microsoft Office PowerPoint</Application>
  <PresentationFormat>On-screen Show (16:9)</PresentationFormat>
  <Paragraphs>2268</Paragraphs>
  <Slides>54</Slides>
  <Notes>5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4</vt:i4>
      </vt:variant>
    </vt:vector>
  </HeadingPairs>
  <TitlesOfParts>
    <vt:vector size="65"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3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